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  <p:sldMasterId id="2147483727" r:id="rId3"/>
  </p:sldMasterIdLst>
  <p:notesMasterIdLst>
    <p:notesMasterId r:id="rId7"/>
  </p:notesMasterIdLst>
  <p:sldIdLst>
    <p:sldId id="2145706596" r:id="rId4"/>
    <p:sldId id="2145706582" r:id="rId5"/>
    <p:sldId id="2145706572" r:id="rId6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2DDF603-E225-5E30-5EA7-254906D9A3B2}" v="1" dt="2023-12-08T12:55:06.043"/>
    <p1510:client id="{A1DF8B92-C642-0CF1-7043-48DD09A9AAC9}" v="6" dt="2023-12-08T12:53:52.15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16" autoAdjust="0"/>
    <p:restoredTop sz="94660"/>
  </p:normalViewPr>
  <p:slideViewPr>
    <p:cSldViewPr snapToGrid="0">
      <p:cViewPr varScale="1">
        <p:scale>
          <a:sx n="76" d="100"/>
          <a:sy n="76" d="100"/>
        </p:scale>
        <p:origin x="90" y="7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ableStyles" Target="tableStyles.xml"/><Relationship Id="rId5" Type="http://schemas.openxmlformats.org/officeDocument/2006/relationships/slide" Target="slides/slide2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lemola Emma" userId="S::emma.klemola@vakehyva.fi::598e3ebd-41a0-4358-8a11-d18ec3ab9120" providerId="AD" clId="Web-{42DDF603-E225-5E30-5EA7-254906D9A3B2}"/>
    <pc:docChg chg="modSld">
      <pc:chgData name="Klemola Emma" userId="S::emma.klemola@vakehyva.fi::598e3ebd-41a0-4358-8a11-d18ec3ab9120" providerId="AD" clId="Web-{42DDF603-E225-5E30-5EA7-254906D9A3B2}" dt="2023-12-08T12:55:06.043" v="0" actId="20577"/>
      <pc:docMkLst>
        <pc:docMk/>
      </pc:docMkLst>
      <pc:sldChg chg="modSp">
        <pc:chgData name="Klemola Emma" userId="S::emma.klemola@vakehyva.fi::598e3ebd-41a0-4358-8a11-d18ec3ab9120" providerId="AD" clId="Web-{42DDF603-E225-5E30-5EA7-254906D9A3B2}" dt="2023-12-08T12:55:06.043" v="0" actId="20577"/>
        <pc:sldMkLst>
          <pc:docMk/>
          <pc:sldMk cId="1102925951" sldId="2145706596"/>
        </pc:sldMkLst>
        <pc:spChg chg="mod">
          <ac:chgData name="Klemola Emma" userId="S::emma.klemola@vakehyva.fi::598e3ebd-41a0-4358-8a11-d18ec3ab9120" providerId="AD" clId="Web-{42DDF603-E225-5E30-5EA7-254906D9A3B2}" dt="2023-12-08T12:55:06.043" v="0" actId="20577"/>
          <ac:spMkLst>
            <pc:docMk/>
            <pc:sldMk cId="1102925951" sldId="2145706596"/>
            <ac:spMk id="10" creationId="{A1377D56-451C-47D6-AC8A-6CF70622A7FA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924981-763F-4A86-9148-658054E9C471}" type="datetimeFigureOut">
              <a:t>12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2ED069-0829-40D4-BEB9-7A22279354F9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1966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A5E1D6-6E9C-454C-9FD6-B8BCEFC1CE81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381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224435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120343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ystysuoran tekstin paikkamerkki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064553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8901ADD6-5851-E627-B6DD-2B9D28CBF1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095948D4-CEAA-6CB6-E654-F5C5FD97C5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B854CC7-F65C-8C54-30DB-A7D601F013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4847F2BF-856D-9671-66B4-13D6B238DC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630AC9D-CD7E-680A-8B2F-D9509D5DD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0339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173769F-43EC-96BE-0080-D513045722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6F2BB73C-EAAC-5A9F-01F5-DB72727366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0A4C0632-A159-E6D8-42D5-2984C0A09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7DB2D8B-AA3E-7E5B-5B20-A685DFF3B7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001067E-EDE0-F16E-5747-DCB33D8AB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32177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2A7A80E-F2F8-87B8-EF1D-721A27E89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039291D-69FF-8AAA-700E-93887EE625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BC6EC26-E5C0-915B-75AE-F51894221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E7DBC01-4C09-B334-61C1-D5503F3F1D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DFB75A4-1715-2692-ED32-525D9F029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64008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D3A3136-CEEE-B3F8-A2E2-7888A80BCF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60E1E691-A6B9-69AB-EC85-AC96735B39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652ACBC2-C58E-F7F2-A5EB-7DBE421FF9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E165DFAA-82B8-3D79-0065-221EB6C51B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E1A38D8C-6B1C-E22A-395D-424FB1E64D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39E17647-299A-4915-5EB3-7B80F829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090524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5498C77-FA16-ACEB-2E79-F3474A00B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C444F1CD-A22C-3F98-39A3-0611A9549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44415111-7DEB-CF7C-E329-6580F87EB6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A6606226-FE9C-936C-6C85-29C77B1664F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80FE9822-93EC-870F-2DF7-5A3899A30C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84049B80-229D-71A0-DD7E-1BDF1419C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56872029-2340-036F-2EF2-DD0CFA8BF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54DB3342-F772-CFF5-C0C9-095E099AE7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25628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4E6C20A1-655E-08A0-9E16-F3F1F2F64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FF285E2-AEBA-30DB-520C-44A44A30C4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E755AE29-45F1-3D92-C8F9-05DE2147D1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D8E3FD77-B077-2E86-A74C-59A7EFF834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812226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5EF485E7-3BDD-CD4D-B946-B4D1E6FD11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B5A74EA-F134-2017-77EA-ACEE00A1A0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24CCD6B1-2AFF-9596-96A8-0576AD686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61767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2F7607A9-3D65-88F0-3068-AF94CF76F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B2DDB26B-25CF-322C-877A-4020B9DA78F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F9E72DBB-F050-845D-BB93-E53FF291078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DF53283B-CEF3-4C21-F474-16DA03D02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7849C965-9072-FBAE-948E-37C60548C9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DE4F7B88-0A37-EA75-F36B-87A4CB46D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8498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1875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46836F3-343B-9EC3-06D3-3846F22CCF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06827A28-E787-2D3D-3E2F-A76561C70C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284BE7B7-E800-35CA-BFB0-B16FFDCD33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2260911-DAAD-20CD-419B-E978DDB043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A9AB354-98FF-D896-17A7-870BCACD18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B24FE42F-0774-05CE-CE58-57622C041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04573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9A86AF7-430E-376F-92D7-4A54A68917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5D1B72DA-C8BA-CE45-8211-1897D5DED9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3866A99-0894-78F5-04F3-0C7F2F508A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049AAEB6-A94F-0691-CC29-2E3F3B384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8D3FCFE-D88A-5AA2-2D0D-D42ED33F6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37943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653463D6-344C-1935-D5C6-46B12A2C41C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92EC9D9B-A49B-E591-59B2-8B4A76A6CB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DF8A8EF-4F73-E0EC-8F9A-4C7D0E93BB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6670834B-1D4B-285D-26A3-7C0FFA1F4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060B949D-08F4-510F-BDB2-4E3D26C64F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97799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3FA730-C00B-435E-9AD3-D5CD591BB7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21D3A872-EDE2-4CB9-9591-16D04CBCC1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49A7667-9475-47B4-8238-8F1E94571C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EB21529-FA00-45FB-8BBB-03EFB61ADF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7BA44BA-F360-458B-B065-B1B23EF3F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4650269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64B1370-13F7-48DD-B173-87D208B92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6959EFD-B2B2-46EC-81EC-4CFBF90FA2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531ECB2-6D7F-40FD-B11B-BDCB5D5705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EA4ADBD4-C2C8-42CE-B82B-E55F98C46D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2A5084DE-1FE9-4D94-9868-780DD20FBE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13825541"/>
      </p:ext>
    </p:extLst>
  </p:cSld>
  <p:clrMapOvr>
    <a:masterClrMapping/>
  </p:clrMapOvr>
  <p:hf hdr="0" ft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1EF25F6-9AA8-49C1-8337-7C4923D0CD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90B3CB6A-BCAE-4925-9872-5F14B15492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E8E5ED30-3F4A-46D9-B741-3310EA428C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4316766D-834F-4318-BF7F-22B537F33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A0F44558-0201-41E3-9F67-0509A1F37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3737535"/>
      </p:ext>
    </p:extLst>
  </p:cSld>
  <p:clrMapOvr>
    <a:masterClrMapping/>
  </p:clrMapOvr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FFD5B80-AD0E-4408-B145-0C53DCE35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653CB992-5D55-4182-9400-F782671055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ECE1F2F4-C072-4429-AC1C-F4FCA4953A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BBDA2D3-EEF4-4CE8-B3EE-114CCFDA1A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529AF756-DC73-47B7-B62E-D29A66808A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96B32315-B117-46CA-BC20-F7CE9BF770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93638201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7DB2842-CC0F-4E0C-A5AA-28E28E88FB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28949D9E-7F7A-4D4F-8425-EA4E172BF8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BC692DEB-4DD1-4571-AF81-36D6551C14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0D7D6996-277C-4EE8-8D03-72D46F7471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BF83599C-FAC9-41F5-BED2-9F74469A85D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659FA05F-1228-46DD-9D5D-E5072697B0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65C56494-E9B8-483F-9521-A13263D5F1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D44C2A90-F85A-444E-BEBF-C91D7852D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22356374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54C4C6A6-8451-4F96-AD0D-17A32B8051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51889D06-A4DB-48FC-8777-5F27BB24E5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63A5FFEE-7ABA-4AAD-BFB5-500BFF013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0804DC36-2BCE-4179-9D51-DD230BC6E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36917089"/>
      </p:ext>
    </p:extLst>
  </p:cSld>
  <p:clrMapOvr>
    <a:masterClrMapping/>
  </p:clrMapOvr>
  <p:hf hdr="0" ft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E0826EE5-E1DE-4371-B9AE-57C73FC3C8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2B95A6E6-3D1E-4AB7-BEAF-E66062F7B5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21E7F9B8-943A-4F28-A851-A3AC26CB0E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74727052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257720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00380E7-94F7-40D1-A3C7-42D679DFA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F7344762-5CE5-4F3D-B280-58BE552FF3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E7EE5E0C-6BA0-497E-A2D8-E419EA278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8E38588D-0830-41B6-B5CF-10B9EB7FF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58035D83-2DDC-4BD2-B1A1-BC46690BE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28A81AA3-A9D6-4A1F-AB4B-362BDB5A4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29569141"/>
      </p:ext>
    </p:extLst>
  </p:cSld>
  <p:clrMapOvr>
    <a:masterClrMapping/>
  </p:clrMapOvr>
  <p:hf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7F87930-C129-46D5-867A-76F1E621BE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897BD9DC-BFF6-4BF9-AE74-4B75543EFE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9D292085-9D9A-42EF-984C-4DB95A5C9B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920D607A-8930-4158-A3FE-B122C2ADF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EB8F6624-A882-48D5-B0E5-327E06577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3A481629-32AA-41AD-ABE1-732CAAAD4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33283255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93BC916-5FA9-4F6E-BAA1-9462119AE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D0A50F1E-69BF-4D3E-AC07-12FFFB4497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AB30755-DEE3-408F-A456-1F724DDB0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C4EBCCD3-CA53-4029-AB37-B30F4A243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946FE22-DB0B-42E5-AB57-FEA78C48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4089194"/>
      </p:ext>
    </p:extLst>
  </p:cSld>
  <p:clrMapOvr>
    <a:masterClrMapping/>
  </p:clrMapOvr>
  <p:hf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9FFD7AD0-2FA1-453A-8331-3C4655A471E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4745F6D-7AD7-4FC7-9218-716D09CDFF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D6FC334-460E-46E1-BC23-C8E1D5B86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F4CD8-536F-4549-973D-0FBA9CAF6C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E99FC84-0407-4467-8700-1169180750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/>
            <a:r>
              <a:rPr lang="fi-FI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07AFA7D5-C812-4869-87DE-243A40C4BC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86802726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salto_pal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43383C-D902-4359-B134-36B4C4F73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81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B999F5-4813-427F-A4E4-5335441DBD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160494"/>
            <a:ext cx="3932237" cy="370849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00F1A4-B81E-45E1-9606-07525FFE27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9F7C74-FDAC-47C9-85FF-A93A4A77D2DE}" type="datetime1">
              <a:rPr lang="fi-FI" smtClean="0"/>
              <a:t>8.12.2023</a:t>
            </a:fld>
            <a:endParaRPr lang="fi-F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40F95E-9FAF-473A-8740-38C0D6F75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C7B8F6-2765-465B-BF52-D1DF320C1AE3}" type="slidenum">
              <a:rPr lang="fi-FI" smtClean="0"/>
              <a:t>‹#›</a:t>
            </a:fld>
            <a:endParaRPr lang="fi-FI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4EB64A9-0753-493D-931D-D429FE2A2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5"/>
            <a:ext cx="3932237" cy="96519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27897217-BD8C-4F57-9294-7DC932179A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Poppins SemiBold" panose="00000700000000000000" pitchFamily="2" charset="0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</p:spTree>
    <p:extLst>
      <p:ext uri="{BB962C8B-B14F-4D97-AF65-F5344CB8AC3E}">
        <p14:creationId xmlns:p14="http://schemas.microsoft.com/office/powerpoint/2010/main" val="190416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tsikko_perus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CF713E9-B21F-4277-80A4-C06234167A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7C46CF40-C63D-4563-8757-6DC4E6BF2D21}" type="datetime1">
              <a:rPr lang="fi-FI" smtClean="0"/>
              <a:pPr/>
              <a:t>8.12.2023</a:t>
            </a:fld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955944B-F0B9-4271-96BA-E6828C38A7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7BE2601-7626-456C-A31B-5113E25B12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715693" y="6257748"/>
            <a:ext cx="20505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  <a:latin typeface="+mn-lt"/>
                <a:cs typeface="Poppins SemiBold" panose="00000700000000000000" pitchFamily="2" charset="0"/>
              </a:defRPr>
            </a:lvl1pPr>
          </a:lstStyle>
          <a:p>
            <a:pPr algn="ctr"/>
            <a:r>
              <a:rPr lang="fi-FI"/>
              <a:t>Alatunnist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8D8EFF-79FA-76DF-9282-F58DADE0E5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668" y="487242"/>
            <a:ext cx="9841931" cy="6131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408F79D-00A7-29E0-6FB4-D2FA437672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3669" y="1299308"/>
            <a:ext cx="9841931" cy="47293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336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68371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8" name="Alatunnisteen paikkamerk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343650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3876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836157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7074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tsiko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39981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2ABAE3-D89C-4001-9AEC-5083F82B749C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4AEF5D-7FAC-4949-84D2-DA5A9BB3D22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34520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B3284E39-19C3-668C-987F-6D226EA51C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24431F4-6E98-D2A7-55D1-29E8C6E8B6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F526DFC-A2D3-45DC-FAD8-796C93DD36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2A50AC-4D56-42B2-AA97-B816D8B1A117}" type="datetimeFigureOut">
              <a:rPr lang="fi-FI" smtClean="0"/>
              <a:t>8.12.2023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6B4A53F-BBED-D6BB-B790-423C82E5A3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E2BAD76-2F5D-F155-DF99-6A1E612E39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AA1DF4-5731-41A7-896D-27A1F5B5E937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942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39D09D37-8F1B-4CF7-AE4D-63BCD7DE3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B69326A3-95E7-4499-9A5F-342445ADB8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98C7083-835F-4B7E-827E-D28A6B75C2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3F4CD8-536F-4549-973D-0FBA9CAF6C21}" type="datetime1">
              <a:rPr lang="fi-FI" smtClean="0"/>
              <a:pPr/>
              <a:t>8.12.2023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B52595EB-1331-44F0-A010-FC640EA59A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ctr"/>
            <a:r>
              <a:rPr lang="fi-FI" dirty="0"/>
              <a:t>Alatunniste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E47D4ABF-F563-4538-8C28-082B8900A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C7B8F6-2765-465B-BF52-D1DF320C1AE3}" type="slidenum">
              <a:rPr lang="fi-FI" smtClean="0"/>
              <a:pPr/>
              <a:t>‹#›</a:t>
            </a:fld>
            <a:endParaRPr lang="fi-FI" dirty="0"/>
          </a:p>
        </p:txBody>
      </p:sp>
      <p:graphicFrame>
        <p:nvGraphicFramePr>
          <p:cNvPr id="7" name="Object 8" hidden="1">
            <a:extLst>
              <a:ext uri="{FF2B5EF4-FFF2-40B4-BE49-F238E27FC236}">
                <a16:creationId xmlns:a16="http://schemas.microsoft.com/office/drawing/2014/main" id="{D6D03907-C882-4BD3-A94B-11DDBD9F01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7" name="Object 8" hidden="1">
                        <a:extLst>
                          <a:ext uri="{FF2B5EF4-FFF2-40B4-BE49-F238E27FC236}">
                            <a16:creationId xmlns:a16="http://schemas.microsoft.com/office/drawing/2014/main" id="{D6D03907-C882-4BD3-A94B-11DDBD9F0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2">
            <a:extLst>
              <a:ext uri="{FF2B5EF4-FFF2-40B4-BE49-F238E27FC236}">
                <a16:creationId xmlns:a16="http://schemas.microsoft.com/office/drawing/2014/main" id="{67383CE7-B6ED-41ED-B504-588DB11A542B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517" y="431617"/>
            <a:ext cx="821524" cy="696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97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6B63FCCC-61C4-417F-9042-018233136384}"/>
              </a:ext>
            </a:extLst>
          </p:cNvPr>
          <p:cNvSpPr/>
          <p:nvPr/>
        </p:nvSpPr>
        <p:spPr>
          <a:xfrm>
            <a:off x="536896" y="2333625"/>
            <a:ext cx="2508308" cy="433706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sosiaalineuvonnassa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ohjaaja selvittää asiakkaan tilannetta ja sosiaalipalveluiden tarpeita.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solidFill>
                  <a:prstClr val="white"/>
                </a:solidFill>
                <a:latin typeface="Calibri" panose="020F0502020204030204"/>
              </a:rPr>
              <a:t>Palveluohjaaja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vioi Kelan kanssa tehtävän yhteistyön tarpeen.</a:t>
            </a:r>
          </a:p>
        </p:txBody>
      </p:sp>
      <p:sp>
        <p:nvSpPr>
          <p:cNvPr id="5" name="Kuvaselite: Nuoli oikealle 4">
            <a:extLst>
              <a:ext uri="{FF2B5EF4-FFF2-40B4-BE49-F238E27FC236}">
                <a16:creationId xmlns:a16="http://schemas.microsoft.com/office/drawing/2014/main" id="{0E25BC4D-0A5B-4C11-BC91-C0F7993AB958}"/>
              </a:ext>
            </a:extLst>
          </p:cNvPr>
          <p:cNvSpPr/>
          <p:nvPr/>
        </p:nvSpPr>
        <p:spPr>
          <a:xfrm>
            <a:off x="3179428" y="2333625"/>
            <a:ext cx="2764727" cy="4337070"/>
          </a:xfrm>
          <a:prstGeom prst="rightArrowCallou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ohjaaja tiedustelee pääsyä tapaamiseen tai soittaa Kelan työntekijälle yhdessä asiakkaan kanssa. </a:t>
            </a:r>
          </a:p>
        </p:txBody>
      </p:sp>
      <p:sp>
        <p:nvSpPr>
          <p:cNvPr id="6" name="Suorakulmio 5">
            <a:extLst>
              <a:ext uri="{FF2B5EF4-FFF2-40B4-BE49-F238E27FC236}">
                <a16:creationId xmlns:a16="http://schemas.microsoft.com/office/drawing/2014/main" id="{6F10E943-DE87-4E35-8E13-8666A57B303E}"/>
              </a:ext>
            </a:extLst>
          </p:cNvPr>
          <p:cNvSpPr/>
          <p:nvPr/>
        </p:nvSpPr>
        <p:spPr>
          <a:xfrm>
            <a:off x="6078379" y="2333626"/>
            <a:ext cx="2141855" cy="433707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ja palveluohjaaja siirtyvät Kelan toimistoon viereiseen huoneeseen tai yhteissoitto Kelaa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hdessä selvitetään Kelan asioita kuntoon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vittaessa uusi ajanvaraus Kelaan tai </a:t>
            </a:r>
            <a:r>
              <a:rPr lang="fi-FI" dirty="0">
                <a:solidFill>
                  <a:prstClr val="white"/>
                </a:solidFill>
                <a:latin typeface="Calibri" panose="020F0502020204030204"/>
              </a:rPr>
              <a:t>yhteydenotto sosiaalipalveluihin. </a:t>
            </a:r>
            <a:endParaRPr kumimoji="0" lang="fi-FI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Kuvaselite: Nuoli oikealle 6">
            <a:extLst>
              <a:ext uri="{FF2B5EF4-FFF2-40B4-BE49-F238E27FC236}">
                <a16:creationId xmlns:a16="http://schemas.microsoft.com/office/drawing/2014/main" id="{1AC239AE-ABBF-4ACD-A583-6C2241C07243}"/>
              </a:ext>
            </a:extLst>
          </p:cNvPr>
          <p:cNvSpPr/>
          <p:nvPr/>
        </p:nvSpPr>
        <p:spPr>
          <a:xfrm>
            <a:off x="8539993" y="2333621"/>
            <a:ext cx="3020035" cy="4337070"/>
          </a:xfrm>
          <a:prstGeom prst="rightArrowCallou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poistuu tyytyväisenä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dirty="0">
              <a:solidFill>
                <a:prstClr val="white"/>
              </a:solidFill>
              <a:latin typeface="Calibri" panose="020F050202020403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on saanut hoidettua asiat kuntoon ja tietää miten etenee omassa tilanteessaan jatkossa.</a:t>
            </a:r>
          </a:p>
        </p:txBody>
      </p:sp>
      <p:sp>
        <p:nvSpPr>
          <p:cNvPr id="8" name="Tekstiruutu 7">
            <a:extLst>
              <a:ext uri="{FF2B5EF4-FFF2-40B4-BE49-F238E27FC236}">
                <a16:creationId xmlns:a16="http://schemas.microsoft.com/office/drawing/2014/main" id="{496D0C98-1B0F-417B-A198-E43043911314}"/>
              </a:ext>
            </a:extLst>
          </p:cNvPr>
          <p:cNvSpPr txBox="1"/>
          <p:nvPr/>
        </p:nvSpPr>
        <p:spPr>
          <a:xfrm>
            <a:off x="536896" y="187305"/>
            <a:ext cx="10803642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kumimoji="0" lang="fi-FI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 Black"/>
                <a:ea typeface="+mn-ea"/>
                <a:cs typeface="+mn-cs"/>
              </a:rPr>
              <a:t>Sosiaalineuvonnan ja K</a:t>
            </a:r>
            <a:r>
              <a:rPr kumimoji="0" lang="fi-FI" sz="28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 Black"/>
                <a:ea typeface="+mn-ea"/>
                <a:cs typeface="+mn-cs"/>
              </a:rPr>
              <a:t>elan</a:t>
            </a:r>
            <a:r>
              <a:rPr kumimoji="0" lang="fi-FI" sz="28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 Black"/>
                <a:ea typeface="+mn-ea"/>
                <a:cs typeface="+mn-cs"/>
              </a:rPr>
              <a:t> yhteistyön </a:t>
            </a:r>
            <a:r>
              <a:rPr lang="fi-FI" sz="2800">
                <a:latin typeface="Arial Black"/>
              </a:rPr>
              <a:t>asiakaspolku </a:t>
            </a:r>
            <a:endParaRPr kumimoji="0" lang="fi-FI" sz="28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uorakulmio: Pyöristetyt kulmat 8">
            <a:extLst>
              <a:ext uri="{FF2B5EF4-FFF2-40B4-BE49-F238E27FC236}">
                <a16:creationId xmlns:a16="http://schemas.microsoft.com/office/drawing/2014/main" id="{D122B0C4-1196-492A-81B0-A66001B8CDE4}"/>
              </a:ext>
            </a:extLst>
          </p:cNvPr>
          <p:cNvSpPr/>
          <p:nvPr/>
        </p:nvSpPr>
        <p:spPr>
          <a:xfrm>
            <a:off x="511241" y="973894"/>
            <a:ext cx="2508307" cy="12458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ja palveluohjaaja </a:t>
            </a:r>
          </a:p>
        </p:txBody>
      </p:sp>
      <p:sp>
        <p:nvSpPr>
          <p:cNvPr id="10" name="Suorakulmio: Pyöristetyt kulmat 9">
            <a:extLst>
              <a:ext uri="{FF2B5EF4-FFF2-40B4-BE49-F238E27FC236}">
                <a16:creationId xmlns:a16="http://schemas.microsoft.com/office/drawing/2014/main" id="{A1377D56-451C-47D6-AC8A-6CF70622A7FA}"/>
              </a:ext>
            </a:extLst>
          </p:cNvPr>
          <p:cNvSpPr/>
          <p:nvPr/>
        </p:nvSpPr>
        <p:spPr>
          <a:xfrm>
            <a:off x="3155172" y="973894"/>
            <a:ext cx="1853966" cy="12458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 ja </a:t>
            </a:r>
            <a:r>
              <a: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lveluohjaaja</a:t>
            </a:r>
          </a:p>
        </p:txBody>
      </p:sp>
      <p:sp>
        <p:nvSpPr>
          <p:cNvPr id="12" name="Suorakulmio: Pyöristetyt kulmat 11">
            <a:extLst>
              <a:ext uri="{FF2B5EF4-FFF2-40B4-BE49-F238E27FC236}">
                <a16:creationId xmlns:a16="http://schemas.microsoft.com/office/drawing/2014/main" id="{19BE7B38-BC12-4133-AB09-C9411EE800D6}"/>
              </a:ext>
            </a:extLst>
          </p:cNvPr>
          <p:cNvSpPr/>
          <p:nvPr/>
        </p:nvSpPr>
        <p:spPr>
          <a:xfrm>
            <a:off x="6078379" y="973894"/>
            <a:ext cx="2124234" cy="12458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, </a:t>
            </a:r>
            <a:r>
              <a:rPr lang="fi-FI" dirty="0">
                <a:solidFill>
                  <a:prstClr val="white"/>
                </a:solidFill>
                <a:latin typeface="Calibri" panose="020F0502020204030204"/>
              </a:rPr>
              <a:t>palveluohjaaja</a:t>
            </a: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 Kelan työntekijä</a:t>
            </a:r>
          </a:p>
        </p:txBody>
      </p:sp>
      <p:sp>
        <p:nvSpPr>
          <p:cNvPr id="13" name="Suorakulmio: Pyöristetyt kulmat 12">
            <a:extLst>
              <a:ext uri="{FF2B5EF4-FFF2-40B4-BE49-F238E27FC236}">
                <a16:creationId xmlns:a16="http://schemas.microsoft.com/office/drawing/2014/main" id="{5D20F793-0A93-4CDE-A53A-5BA847AD5663}"/>
              </a:ext>
            </a:extLst>
          </p:cNvPr>
          <p:cNvSpPr/>
          <p:nvPr/>
        </p:nvSpPr>
        <p:spPr>
          <a:xfrm>
            <a:off x="8539993" y="973894"/>
            <a:ext cx="1988190" cy="1245876"/>
          </a:xfrm>
          <a:prstGeom prst="round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kas</a:t>
            </a:r>
          </a:p>
        </p:txBody>
      </p:sp>
    </p:spTree>
    <p:extLst>
      <p:ext uri="{BB962C8B-B14F-4D97-AF65-F5344CB8AC3E}">
        <p14:creationId xmlns:p14="http://schemas.microsoft.com/office/powerpoint/2010/main" val="1102925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>
            <a:extLst>
              <a:ext uri="{FF2B5EF4-FFF2-40B4-BE49-F238E27FC236}">
                <a16:creationId xmlns:a16="http://schemas.microsoft.com/office/drawing/2014/main" id="{BA1E737A-5067-DA76-A778-D1135DD63F5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9"/>
          <a:stretch/>
        </p:blipFill>
        <p:spPr>
          <a:xfrm>
            <a:off x="3242695" y="10"/>
            <a:ext cx="8949307" cy="6857990"/>
          </a:xfrm>
          <a:custGeom>
            <a:avLst/>
            <a:gdLst/>
            <a:ahLst/>
            <a:cxnLst/>
            <a:rect l="l" t="t" r="r" b="b"/>
            <a:pathLst>
              <a:path w="8949307" h="6858000">
                <a:moveTo>
                  <a:pt x="0" y="0"/>
                </a:moveTo>
                <a:lnTo>
                  <a:pt x="8949307" y="0"/>
                </a:lnTo>
                <a:lnTo>
                  <a:pt x="8949307" y="6858000"/>
                </a:lnTo>
                <a:lnTo>
                  <a:pt x="0" y="6858000"/>
                </a:lnTo>
                <a:lnTo>
                  <a:pt x="62983" y="6788730"/>
                </a:lnTo>
                <a:cubicBezTo>
                  <a:pt x="773509" y="5928900"/>
                  <a:pt x="1212979" y="4741056"/>
                  <a:pt x="1212979" y="3429000"/>
                </a:cubicBezTo>
                <a:cubicBezTo>
                  <a:pt x="1212979" y="2116944"/>
                  <a:pt x="773509" y="929100"/>
                  <a:pt x="62983" y="69271"/>
                </a:cubicBezTo>
                <a:close/>
              </a:path>
            </a:pathLst>
          </a:cu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5C3A9149-7EB3-C119-129D-C0871CDF66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8318" y="412750"/>
            <a:ext cx="3117154" cy="1616075"/>
          </a:xfrm>
        </p:spPr>
        <p:txBody>
          <a:bodyPr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Yhteistyön tavoite </a:t>
            </a:r>
            <a:r>
              <a:rPr kumimoji="0" lang="fi-FI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Poppins ExtraBold"/>
              </a:rPr>
              <a:t> </a:t>
            </a:r>
            <a:br>
              <a:rPr kumimoji="0" lang="fi-FI" sz="2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Poppins ExtraBold" panose="00000900000000000000" pitchFamily="2" charset="0"/>
              </a:rPr>
            </a:br>
            <a:endParaRPr lang="fi-FI" sz="240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798FB066-51BB-067B-6B86-B245987BB9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8318" y="1895856"/>
            <a:ext cx="3438906" cy="4325112"/>
          </a:xfrm>
        </p:spPr>
        <p:txBody>
          <a:bodyPr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sz="2000" err="1"/>
              <a:t>Yhteistyön</a:t>
            </a:r>
            <a:r>
              <a:rPr lang="en-US" sz="2000"/>
              <a:t> </a:t>
            </a:r>
            <a:r>
              <a:rPr lang="en-US" sz="2000" err="1"/>
              <a:t>tavoitteena</a:t>
            </a:r>
            <a:r>
              <a:rPr lang="en-US" sz="2000"/>
              <a:t> on </a:t>
            </a:r>
            <a:r>
              <a:rPr lang="en-US" sz="2000" err="1"/>
              <a:t>ollut</a:t>
            </a:r>
            <a:r>
              <a:rPr lang="en-US" sz="2000"/>
              <a:t> </a:t>
            </a:r>
            <a:r>
              <a:rPr lang="en-US" sz="2000" err="1"/>
              <a:t>tavata</a:t>
            </a:r>
            <a:r>
              <a:rPr lang="en-US" sz="2000"/>
              <a:t> </a:t>
            </a:r>
            <a:r>
              <a:rPr lang="en-US" sz="2000" noProof="1"/>
              <a:t>sosiaalipalveluiden</a:t>
            </a:r>
            <a:r>
              <a:rPr lang="en-US" sz="2000"/>
              <a:t> ja Kelan </a:t>
            </a:r>
            <a:r>
              <a:rPr lang="en-US" sz="2000" err="1"/>
              <a:t>työntekijän</a:t>
            </a:r>
            <a:r>
              <a:rPr lang="en-US" sz="2000"/>
              <a:t> </a:t>
            </a:r>
            <a:r>
              <a:rPr lang="en-US" sz="2000" err="1"/>
              <a:t>kesken</a:t>
            </a:r>
            <a:r>
              <a:rPr lang="en-US" sz="2000"/>
              <a:t> </a:t>
            </a:r>
            <a:r>
              <a:rPr lang="en-US" sz="2000" err="1"/>
              <a:t>yhdessä</a:t>
            </a:r>
            <a:r>
              <a:rPr lang="en-US" sz="2000"/>
              <a:t> </a:t>
            </a:r>
            <a:r>
              <a:rPr lang="en-US" sz="2000" err="1"/>
              <a:t>asiakkaat</a:t>
            </a:r>
            <a:r>
              <a:rPr lang="en-US" sz="2000"/>
              <a:t>, </a:t>
            </a:r>
            <a:r>
              <a:rPr lang="en-US" sz="2000" err="1"/>
              <a:t>joilla</a:t>
            </a:r>
            <a:r>
              <a:rPr lang="en-US" sz="2000"/>
              <a:t> </a:t>
            </a:r>
            <a:r>
              <a:rPr lang="en-US" sz="2000" err="1"/>
              <a:t>tuen</a:t>
            </a:r>
            <a:r>
              <a:rPr lang="en-US" sz="2000"/>
              <a:t> ja </a:t>
            </a:r>
            <a:r>
              <a:rPr lang="en-US" sz="2000" err="1"/>
              <a:t>ohjauksen</a:t>
            </a:r>
            <a:r>
              <a:rPr lang="en-US" sz="2000"/>
              <a:t> </a:t>
            </a:r>
            <a:r>
              <a:rPr lang="en-US" sz="2000" err="1"/>
              <a:t>tarve</a:t>
            </a:r>
            <a:r>
              <a:rPr lang="en-US" sz="2000"/>
              <a:t> </a:t>
            </a:r>
            <a:r>
              <a:rPr lang="en-US" sz="2000" noProof="1"/>
              <a:t>sosiaalitoimen ja Kelan asioihin liittyen. </a:t>
            </a:r>
          </a:p>
          <a:p>
            <a:pPr marL="0" indent="0">
              <a:buNone/>
            </a:pPr>
            <a:endParaRPr lang="en-US" sz="2000" noProof="1"/>
          </a:p>
          <a:p>
            <a:pPr marL="0" indent="0">
              <a:buNone/>
            </a:pPr>
            <a:r>
              <a:rPr lang="en-US" sz="2000" err="1"/>
              <a:t>Tavoitteena</a:t>
            </a:r>
            <a:endParaRPr lang="en-US" sz="2000" err="1">
              <a:cs typeface="Calibri"/>
            </a:endParaRPr>
          </a:p>
          <a:p>
            <a:r>
              <a:rPr lang="en-US" sz="2000" err="1"/>
              <a:t>Asiakas</a:t>
            </a:r>
            <a:r>
              <a:rPr lang="en-US" sz="2000"/>
              <a:t> </a:t>
            </a:r>
            <a:r>
              <a:rPr lang="en-US" sz="2000" err="1"/>
              <a:t>saa</a:t>
            </a:r>
            <a:r>
              <a:rPr lang="en-US" sz="2000"/>
              <a:t> </a:t>
            </a:r>
            <a:r>
              <a:rPr lang="en-US" sz="2000" err="1"/>
              <a:t>hoidettua</a:t>
            </a:r>
            <a:r>
              <a:rPr lang="en-US" sz="2000"/>
              <a:t> </a:t>
            </a:r>
            <a:r>
              <a:rPr lang="en-US" sz="2000" err="1"/>
              <a:t>asiaansa</a:t>
            </a:r>
            <a:r>
              <a:rPr lang="en-US" sz="2000"/>
              <a:t> </a:t>
            </a:r>
            <a:r>
              <a:rPr lang="en-US" sz="2000" err="1"/>
              <a:t>yhdellä</a:t>
            </a:r>
            <a:r>
              <a:rPr lang="en-US" sz="2000"/>
              <a:t> </a:t>
            </a:r>
            <a:r>
              <a:rPr lang="en-US" sz="2000" err="1"/>
              <a:t>kertaa</a:t>
            </a:r>
            <a:r>
              <a:rPr lang="en-US" sz="2000"/>
              <a:t> </a:t>
            </a:r>
            <a:endParaRPr lang="en-US">
              <a:cs typeface="Calibri" panose="020F0502020204030204"/>
            </a:endParaRPr>
          </a:p>
          <a:p>
            <a:r>
              <a:rPr lang="en-US" sz="2000" err="1"/>
              <a:t>Asiakas</a:t>
            </a:r>
            <a:r>
              <a:rPr lang="en-US" sz="2000"/>
              <a:t> </a:t>
            </a:r>
            <a:r>
              <a:rPr lang="en-US" sz="2000" err="1"/>
              <a:t>kokee</a:t>
            </a:r>
            <a:r>
              <a:rPr lang="en-US" sz="2000"/>
              <a:t> </a:t>
            </a:r>
            <a:r>
              <a:rPr lang="en-US" sz="2000" err="1"/>
              <a:t>tulleensa</a:t>
            </a:r>
            <a:r>
              <a:rPr lang="en-US" sz="2000"/>
              <a:t> </a:t>
            </a:r>
            <a:r>
              <a:rPr lang="en-US" sz="2000" err="1"/>
              <a:t>autetuksi</a:t>
            </a:r>
            <a:endParaRPr lang="en-US" err="1">
              <a:cs typeface="Calibri" panose="020F0502020204030204"/>
            </a:endParaRPr>
          </a:p>
          <a:p>
            <a:r>
              <a:rPr lang="en-US" sz="2000" err="1"/>
              <a:t>Asiakas</a:t>
            </a:r>
            <a:r>
              <a:rPr lang="en-US" sz="2000"/>
              <a:t> </a:t>
            </a:r>
            <a:r>
              <a:rPr lang="en-US" sz="2000" err="1"/>
              <a:t>tietää</a:t>
            </a:r>
            <a:r>
              <a:rPr lang="en-US" sz="2000"/>
              <a:t> </a:t>
            </a:r>
            <a:r>
              <a:rPr lang="en-US" sz="2000" err="1"/>
              <a:t>miten</a:t>
            </a:r>
            <a:r>
              <a:rPr lang="en-US" sz="2000"/>
              <a:t> </a:t>
            </a:r>
            <a:r>
              <a:rPr lang="en-US" sz="2000" err="1"/>
              <a:t>etenee</a:t>
            </a:r>
            <a:r>
              <a:rPr lang="en-US" sz="2000"/>
              <a:t> </a:t>
            </a:r>
            <a:r>
              <a:rPr lang="en-US" sz="2000" err="1"/>
              <a:t>omassa</a:t>
            </a:r>
            <a:r>
              <a:rPr lang="en-US" sz="2000"/>
              <a:t> </a:t>
            </a:r>
            <a:r>
              <a:rPr lang="en-US" sz="2000" err="1"/>
              <a:t>tilanteessaan</a:t>
            </a:r>
            <a:r>
              <a:rPr lang="en-US" sz="2000"/>
              <a:t>.</a:t>
            </a:r>
            <a:endParaRPr lang="en-US">
              <a:cs typeface="Calibri" panose="020F0502020204030204"/>
            </a:endParaRPr>
          </a:p>
          <a:p>
            <a:pPr marL="0" indent="0">
              <a:buNone/>
            </a:pPr>
            <a:r>
              <a:rPr lang="en-US" sz="1700"/>
              <a:t> </a:t>
            </a:r>
          </a:p>
          <a:p>
            <a:endParaRPr lang="fi-FI" sz="170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0FDE59-A825-7D77-F637-0F39D758E5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094" y="6356350"/>
            <a:ext cx="2692146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F3F4CD8-536F-4549-973D-0FBA9CAF6C21}" type="datetime1"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.12.202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68D386A-9DFD-831D-188B-B54CA0653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7706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D5C7B8F6-2765-465B-BF52-D1DF320C1AE3}" type="slidenum">
              <a:rPr kumimoji="0" lang="fi-FI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4805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44ACB5A-BCBE-DBCC-5A04-B6A560B88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466" y="338816"/>
            <a:ext cx="5788534" cy="1228725"/>
          </a:xfrm>
        </p:spPr>
        <p:txBody>
          <a:bodyPr>
            <a:normAutofit/>
          </a:bodyPr>
          <a:lstStyle/>
          <a:p>
            <a:r>
              <a:rPr kumimoji="0" lang="fi-FI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Sosiaalineuvonnan ja Kelan yhteistyön tuloksia:</a:t>
            </a:r>
            <a:r>
              <a:rPr kumimoji="0" lang="fi-FI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Poppins ExtraBold"/>
              </a:rPr>
              <a:t> </a:t>
            </a:r>
            <a:endParaRPr lang="fi-FI" sz="2000" b="1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093906BD-CE01-24AF-4359-25ED638EF0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7456" y="1578428"/>
            <a:ext cx="5326579" cy="4777921"/>
          </a:xfrm>
        </p:spPr>
        <p:txBody>
          <a:bodyPr vert="horz" lIns="91440" tIns="45720" rIns="91440" bIns="45720" rtlCol="0" anchor="t">
            <a:normAutofit fontScale="55000" lnSpcReduction="20000"/>
          </a:bodyPr>
          <a:lstStyle/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 b="0" i="0" u="none" strike="noStrike">
                <a:solidFill>
                  <a:srgbClr val="000000"/>
                </a:solidFill>
                <a:effectLst/>
                <a:latin typeface="Poppins ExtraLight" panose="020B0502040204020203" pitchFamily="2" charset="0"/>
              </a:rPr>
              <a:t>Asiakkaan palveluiden tarve </a:t>
            </a:r>
            <a:r>
              <a:rPr lang="fi-FI" sz="4200">
                <a:solidFill>
                  <a:srgbClr val="000000"/>
                </a:solidFill>
                <a:latin typeface="Poppins ExtraLight" panose="020B0502040204020203" pitchFamily="2" charset="0"/>
              </a:rPr>
              <a:t>arvioitu kattavasti. </a:t>
            </a:r>
          </a:p>
          <a:p>
            <a:pPr marL="0" indent="0" algn="l" rtl="0" fontAlgn="base">
              <a:spcBef>
                <a:spcPts val="0"/>
              </a:spcBef>
              <a:buNone/>
            </a:pPr>
            <a:endParaRPr lang="fi-FI" sz="4200">
              <a:solidFill>
                <a:srgbClr val="000000"/>
              </a:solidFill>
              <a:latin typeface="Poppins ExtraLight" panose="020B0502040204020203" pitchFamily="2" charset="0"/>
            </a:endParaRPr>
          </a:p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Asiakkaan ohjautuminen Kelaan ja sosiaalipalveluihin oikea-aikaisesti.</a:t>
            </a:r>
          </a:p>
          <a:p>
            <a:pPr marL="0" indent="0" algn="l" rtl="0" fontAlgn="base">
              <a:spcBef>
                <a:spcPts val="0"/>
              </a:spcBef>
              <a:buNone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 </a:t>
            </a:r>
            <a:r>
              <a:rPr lang="fi-FI" sz="4200" b="0" i="0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​</a:t>
            </a:r>
          </a:p>
          <a:p>
            <a:pPr fontAlgn="base">
              <a:spcBef>
                <a:spcPts val="0"/>
              </a:spcBef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Riittävä ohjaus ja neuvonta. </a:t>
            </a:r>
            <a:r>
              <a:rPr lang="fi-FI" sz="4200" dirty="0">
                <a:solidFill>
                  <a:srgbClr val="000000"/>
                </a:solidFill>
                <a:latin typeface="Poppins ExtraLight"/>
                <a:cs typeface="Poppins ExtraLight"/>
              </a:rPr>
              <a:t>J</a:t>
            </a: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atkoasiointitarve</a:t>
            </a:r>
            <a:r>
              <a:rPr lang="fi-FI" sz="4200" dirty="0">
                <a:solidFill>
                  <a:srgbClr val="000000"/>
                </a:solidFill>
                <a:latin typeface="Poppins ExtraLight"/>
                <a:cs typeface="Poppins ExtraLight"/>
              </a:rPr>
              <a:t>tta ei ole tullut.</a:t>
            </a:r>
          </a:p>
          <a:p>
            <a:pPr marL="0" indent="0" fontAlgn="base">
              <a:spcBef>
                <a:spcPts val="0"/>
              </a:spcBef>
              <a:buNone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 </a:t>
            </a:r>
            <a:r>
              <a:rPr lang="fi-FI" sz="4200" b="0" i="0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​</a:t>
            </a:r>
            <a:endParaRPr lang="fi-FI" sz="4200" dirty="0">
              <a:solidFill>
                <a:srgbClr val="000000"/>
              </a:solidFill>
              <a:latin typeface="Poppins ExtraLight"/>
              <a:cs typeface="Poppins ExtraLight"/>
            </a:endParaRPr>
          </a:p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Asiakkaiden luottamuksen lisääntyminen.</a:t>
            </a:r>
          </a:p>
          <a:p>
            <a:pPr marL="0" indent="0" algn="l" rtl="0" fontAlgn="base">
              <a:spcBef>
                <a:spcPts val="0"/>
              </a:spcBef>
              <a:buNone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 </a:t>
            </a:r>
            <a:r>
              <a:rPr lang="en-US" sz="4200" b="0" i="0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​</a:t>
            </a:r>
          </a:p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Ennaltaehkäisevää.</a:t>
            </a:r>
          </a:p>
          <a:p>
            <a:pPr marL="0" indent="0" algn="l" rtl="0" fontAlgn="base">
              <a:spcBef>
                <a:spcPts val="0"/>
              </a:spcBef>
              <a:buNone/>
            </a:pPr>
            <a:endParaRPr lang="fi-FI" sz="4200" b="0" i="0" u="none" strike="noStrike">
              <a:solidFill>
                <a:srgbClr val="000000"/>
              </a:solidFill>
              <a:effectLst/>
              <a:latin typeface="Poppins ExtraLight" panose="020B0502040204020203" pitchFamily="2" charset="0"/>
            </a:endParaRPr>
          </a:p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>
                <a:solidFill>
                  <a:srgbClr val="000000"/>
                </a:solidFill>
                <a:latin typeface="Poppins ExtraLight" panose="020B0502040204020203" pitchFamily="2" charset="0"/>
              </a:rPr>
              <a:t>K</a:t>
            </a:r>
            <a:r>
              <a:rPr lang="fi-FI" sz="4200" b="0" i="0" u="none" strike="noStrike">
                <a:solidFill>
                  <a:srgbClr val="000000"/>
                </a:solidFill>
                <a:effectLst/>
                <a:latin typeface="Poppins ExtraLight" panose="020B0502040204020203" pitchFamily="2" charset="0"/>
              </a:rPr>
              <a:t>iireelliset ja </a:t>
            </a:r>
            <a:r>
              <a:rPr lang="fi-FI" sz="4200">
                <a:solidFill>
                  <a:srgbClr val="000000"/>
                </a:solidFill>
                <a:latin typeface="Poppins ExtraLight" panose="020B0502040204020203" pitchFamily="2" charset="0"/>
              </a:rPr>
              <a:t>erityistä tukea tarvitsevat </a:t>
            </a:r>
            <a:r>
              <a:rPr lang="fi-FI" sz="4200" b="0" i="0" u="none" strike="noStrike">
                <a:solidFill>
                  <a:srgbClr val="000000"/>
                </a:solidFill>
                <a:effectLst/>
                <a:latin typeface="Poppins ExtraLight" panose="020B0502040204020203" pitchFamily="2" charset="0"/>
              </a:rPr>
              <a:t>asiakkaat.</a:t>
            </a:r>
            <a:endParaRPr lang="fi-FI" sz="42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 fontAlgn="base">
              <a:spcBef>
                <a:spcPts val="0"/>
              </a:spcBef>
              <a:buNone/>
            </a:pPr>
            <a:endParaRPr lang="fi-FI" sz="4200" b="0" i="0" u="none" strike="noStrike">
              <a:solidFill>
                <a:srgbClr val="000000"/>
              </a:solidFill>
              <a:effectLst/>
              <a:latin typeface="Poppins ExtraLight" panose="020B0502040204020203" pitchFamily="2" charset="0"/>
            </a:endParaRPr>
          </a:p>
          <a:p>
            <a:pPr algn="l" rtl="0" fontAlgn="base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i-FI" sz="4200" dirty="0">
                <a:solidFill>
                  <a:srgbClr val="000000"/>
                </a:solidFill>
                <a:latin typeface="Poppins ExtraLight"/>
                <a:cs typeface="Poppins ExtraLight"/>
              </a:rPr>
              <a:t>A</a:t>
            </a:r>
            <a:r>
              <a:rPr lang="fi-FI" sz="4200" b="0" i="0" u="none" strike="noStrike" dirty="0">
                <a:solidFill>
                  <a:srgbClr val="000000"/>
                </a:solidFill>
                <a:effectLst/>
                <a:latin typeface="Poppins ExtraLight"/>
                <a:cs typeface="Poppins ExtraLight"/>
              </a:rPr>
              <a:t>siakkaiden hyvinvointi lisääntyy. </a:t>
            </a:r>
            <a:endParaRPr lang="fi-FI" sz="4200" dirty="0">
              <a:latin typeface="Poppins ExtraLight"/>
              <a:cs typeface="Poppins ExtraLight"/>
            </a:endParaRPr>
          </a:p>
          <a:p>
            <a:pPr>
              <a:spcBef>
                <a:spcPts val="0"/>
              </a:spcBef>
            </a:pPr>
            <a:endParaRPr lang="fi-FI" sz="4200">
              <a:latin typeface="Poppins ExtraLight"/>
              <a:cs typeface="Poppins ExtraLight"/>
            </a:endParaRPr>
          </a:p>
          <a:p>
            <a:endParaRPr lang="fi-FI" sz="1400">
              <a:cs typeface="Calibri" panose="020F0502020204030204"/>
            </a:endParaRP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10355DA-E12D-E182-1EEB-3E94DC08BB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6F3F4CD8-536F-4549-973D-0FBA9CAF6C21}" type="datetime1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8.12.202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Kuva 6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908C00DF-B668-BADE-2057-6142FB7908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16" r="-2" b="-2"/>
          <a:stretch/>
        </p:blipFill>
        <p:spPr>
          <a:xfrm rot="5400000">
            <a:off x="5761577" y="427578"/>
            <a:ext cx="6858000" cy="6002844"/>
          </a:xfrm>
          <a:prstGeom prst="rect">
            <a:avLst/>
          </a:prstGeom>
          <a:effectLst/>
        </p:spPr>
      </p:pic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9EA9756E-E942-D499-62FE-ADAD90FFC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193124" y="6356350"/>
            <a:ext cx="1160675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D5C7B8F6-2765-465B-BF52-D1DF320C1AE3}" type="slidenum">
              <a:rPr kumimoji="0" lang="fi-FI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3837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0</Words>
  <Application>Microsoft Office PowerPoint</Application>
  <PresentationFormat>Widescreen</PresentationFormat>
  <Paragraphs>0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Office-teema</vt:lpstr>
      <vt:lpstr>Office-teema</vt:lpstr>
      <vt:lpstr>3_Office-teema</vt:lpstr>
      <vt:lpstr>PowerPoint Presentation</vt:lpstr>
      <vt:lpstr>Yhteistyön tavoite   </vt:lpstr>
      <vt:lpstr>Sosiaalineuvonnan ja Kelan yhteistyön tuloksia: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5</cp:revision>
  <dcterms:created xsi:type="dcterms:W3CDTF">2023-12-08T12:53:28Z</dcterms:created>
  <dcterms:modified xsi:type="dcterms:W3CDTF">2023-12-08T12:55:06Z</dcterms:modified>
</cp:coreProperties>
</file>